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150486-AB01-472F-808C-CB0EC5E64382}" v="11" dt="2024-09-06T12:44:27.3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56" d="100"/>
          <a:sy n="56" d="100"/>
        </p:scale>
        <p:origin x="48" y="204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Dhruw, Kabir SBOBNG-PTIV/LC" userId="b937d6d8-898d-4cbe-9fd6-c82dbbaafd5f" providerId="ADAL" clId="{7CD428B9-A6FB-4AE1-9E17-165E06B1D93B}"/>
    <pc:docChg chg="modSld">
      <pc:chgData name="Dhruw, Kabir SBOBNG-PTIV/LC" userId="b937d6d8-898d-4cbe-9fd6-c82dbbaafd5f" providerId="ADAL" clId="{7CD428B9-A6FB-4AE1-9E17-165E06B1D93B}" dt="2024-09-04T03:30:59.021" v="66" actId="27614"/>
      <pc:docMkLst>
        <pc:docMk/>
      </pc:docMkLst>
      <pc:sldChg chg="addSp modSp mod">
        <pc:chgData name="Dhruw, Kabir SBOBNG-PTIV/LC" userId="b937d6d8-898d-4cbe-9fd6-c82dbbaafd5f" providerId="ADAL" clId="{7CD428B9-A6FB-4AE1-9E17-165E06B1D93B}" dt="2024-09-04T03:25:12.993" v="39" actId="27614"/>
        <pc:sldMkLst>
          <pc:docMk/>
          <pc:sldMk cId="867832184" sldId="2147375589"/>
        </pc:sldMkLst>
        <pc:spChg chg="mod">
          <ac:chgData name="Dhruw, Kabir SBOBNG-PTIV/LC" userId="b937d6d8-898d-4cbe-9fd6-c82dbbaafd5f" providerId="ADAL" clId="{7CD428B9-A6FB-4AE1-9E17-165E06B1D93B}" dt="2024-09-04T03:24:57.705" v="36" actId="20577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Dhruw, Kabir SBOBNG-PTIV/LC" userId="b937d6d8-898d-4cbe-9fd6-c82dbbaafd5f" providerId="ADAL" clId="{7CD428B9-A6FB-4AE1-9E17-165E06B1D93B}" dt="2024-09-04T03:25:12.993" v="39" actId="27614"/>
          <ac:picMkLst>
            <pc:docMk/>
            <pc:sldMk cId="867832184" sldId="2147375589"/>
            <ac:picMk id="6" creationId="{4A3D4E05-3D4B-8744-B7E9-1D94B9A47855}"/>
          </ac:picMkLst>
        </pc:picChg>
      </pc:sldChg>
      <pc:sldChg chg="addSp modSp mod">
        <pc:chgData name="Dhruw, Kabir SBOBNG-PTIV/LC" userId="b937d6d8-898d-4cbe-9fd6-c82dbbaafd5f" providerId="ADAL" clId="{7CD428B9-A6FB-4AE1-9E17-165E06B1D93B}" dt="2024-08-31T06:13:54.287" v="7" actId="14100"/>
        <pc:sldMkLst>
          <pc:docMk/>
          <pc:sldMk cId="245881457" sldId="2147375597"/>
        </pc:sldMkLst>
        <pc:spChg chg="mod">
          <ac:chgData name="Dhruw, Kabir SBOBNG-PTIV/LC" userId="b937d6d8-898d-4cbe-9fd6-c82dbbaafd5f" providerId="ADAL" clId="{7CD428B9-A6FB-4AE1-9E17-165E06B1D93B}" dt="2024-08-31T06:13:33.366" v="1" actId="20577"/>
          <ac:spMkLst>
            <pc:docMk/>
            <pc:sldMk cId="245881457" sldId="2147375597"/>
            <ac:spMk id="12" creationId="{E53E5C3F-4D2B-B85F-E592-E58E032C664C}"/>
          </ac:spMkLst>
        </pc:spChg>
        <pc:picChg chg="add mod">
          <ac:chgData name="Dhruw, Kabir SBOBNG-PTIV/LC" userId="b937d6d8-898d-4cbe-9fd6-c82dbbaafd5f" providerId="ADAL" clId="{7CD428B9-A6FB-4AE1-9E17-165E06B1D93B}" dt="2024-08-31T06:13:54.287" v="7" actId="14100"/>
          <ac:picMkLst>
            <pc:docMk/>
            <pc:sldMk cId="245881457" sldId="2147375597"/>
            <ac:picMk id="5" creationId="{6858F8FC-974D-5DF8-44AE-06F9793C8BDE}"/>
          </ac:picMkLst>
        </pc:picChg>
      </pc:sldChg>
      <pc:sldChg chg="addSp modSp mod">
        <pc:chgData name="Dhruw, Kabir SBOBNG-PTIV/LC" userId="b937d6d8-898d-4cbe-9fd6-c82dbbaafd5f" providerId="ADAL" clId="{7CD428B9-A6FB-4AE1-9E17-165E06B1D93B}" dt="2024-08-31T06:14:29.933" v="14" actId="962"/>
        <pc:sldMkLst>
          <pc:docMk/>
          <pc:sldMk cId="1181112711" sldId="2147375600"/>
        </pc:sldMkLst>
        <pc:spChg chg="mod">
          <ac:chgData name="Dhruw, Kabir SBOBNG-PTIV/LC" userId="b937d6d8-898d-4cbe-9fd6-c82dbbaafd5f" providerId="ADAL" clId="{7CD428B9-A6FB-4AE1-9E17-165E06B1D93B}" dt="2024-08-31T06:13:59.993" v="9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Dhruw, Kabir SBOBNG-PTIV/LC" userId="b937d6d8-898d-4cbe-9fd6-c82dbbaafd5f" providerId="ADAL" clId="{7CD428B9-A6FB-4AE1-9E17-165E06B1D93B}" dt="2024-08-31T06:14:29.933" v="14" actId="962"/>
          <ac:picMkLst>
            <pc:docMk/>
            <pc:sldMk cId="1181112711" sldId="2147375600"/>
            <ac:picMk id="5" creationId="{BE907506-5494-B495-E60C-0D93B4CAB467}"/>
          </ac:picMkLst>
        </pc:picChg>
      </pc:sldChg>
      <pc:sldChg chg="addSp modSp mod">
        <pc:chgData name="Dhruw, Kabir SBOBNG-PTIV/LC" userId="b937d6d8-898d-4cbe-9fd6-c82dbbaafd5f" providerId="ADAL" clId="{7CD428B9-A6FB-4AE1-9E17-165E06B1D93B}" dt="2024-08-31T06:15:07.289" v="22" actId="14100"/>
        <pc:sldMkLst>
          <pc:docMk/>
          <pc:sldMk cId="3233747587" sldId="2147375601"/>
        </pc:sldMkLst>
        <pc:spChg chg="mod">
          <ac:chgData name="Dhruw, Kabir SBOBNG-PTIV/LC" userId="b937d6d8-898d-4cbe-9fd6-c82dbbaafd5f" providerId="ADAL" clId="{7CD428B9-A6FB-4AE1-9E17-165E06B1D93B}" dt="2024-08-31T06:14:52.317" v="16" actId="20577"/>
          <ac:spMkLst>
            <pc:docMk/>
            <pc:sldMk cId="3233747587" sldId="2147375601"/>
            <ac:spMk id="12" creationId="{E53E5C3F-4D2B-B85F-E592-E58E032C664C}"/>
          </ac:spMkLst>
        </pc:spChg>
        <pc:picChg chg="add mod">
          <ac:chgData name="Dhruw, Kabir SBOBNG-PTIV/LC" userId="b937d6d8-898d-4cbe-9fd6-c82dbbaafd5f" providerId="ADAL" clId="{7CD428B9-A6FB-4AE1-9E17-165E06B1D93B}" dt="2024-08-31T06:15:07.289" v="22" actId="14100"/>
          <ac:picMkLst>
            <pc:docMk/>
            <pc:sldMk cId="3233747587" sldId="2147375601"/>
            <ac:picMk id="5" creationId="{F3493A1B-AE08-0EDA-1ABE-21F31FEB06E8}"/>
          </ac:picMkLst>
        </pc:picChg>
      </pc:sldChg>
      <pc:sldChg chg="addSp modSp mod">
        <pc:chgData name="Dhruw, Kabir SBOBNG-PTIV/LC" userId="b937d6d8-898d-4cbe-9fd6-c82dbbaafd5f" providerId="ADAL" clId="{7CD428B9-A6FB-4AE1-9E17-165E06B1D93B}" dt="2024-08-31T06:17:04.121" v="35" actId="962"/>
        <pc:sldMkLst>
          <pc:docMk/>
          <pc:sldMk cId="3971512377" sldId="2147375603"/>
        </pc:sldMkLst>
        <pc:spChg chg="mod">
          <ac:chgData name="Dhruw, Kabir SBOBNG-PTIV/LC" userId="b937d6d8-898d-4cbe-9fd6-c82dbbaafd5f" providerId="ADAL" clId="{7CD428B9-A6FB-4AE1-9E17-165E06B1D93B}" dt="2024-08-31T06:16:30.577" v="30" actId="20577"/>
          <ac:spMkLst>
            <pc:docMk/>
            <pc:sldMk cId="3971512377" sldId="2147375603"/>
            <ac:spMk id="12" creationId="{E53E5C3F-4D2B-B85F-E592-E58E032C664C}"/>
          </ac:spMkLst>
        </pc:spChg>
        <pc:picChg chg="add mod">
          <ac:chgData name="Dhruw, Kabir SBOBNG-PTIV/LC" userId="b937d6d8-898d-4cbe-9fd6-c82dbbaafd5f" providerId="ADAL" clId="{7CD428B9-A6FB-4AE1-9E17-165E06B1D93B}" dt="2024-08-31T06:17:04.121" v="35" actId="962"/>
          <ac:picMkLst>
            <pc:docMk/>
            <pc:sldMk cId="3971512377" sldId="2147375603"/>
            <ac:picMk id="6" creationId="{1CE31728-1DAF-DAD1-0C8D-B93E9FB13EA8}"/>
          </ac:picMkLst>
        </pc:picChg>
      </pc:sldChg>
      <pc:sldChg chg="addSp modSp mod">
        <pc:chgData name="Dhruw, Kabir SBOBNG-PTIV/LC" userId="b937d6d8-898d-4cbe-9fd6-c82dbbaafd5f" providerId="ADAL" clId="{7CD428B9-A6FB-4AE1-9E17-165E06B1D93B}" dt="2024-09-04T03:26:26.232" v="47" actId="1076"/>
        <pc:sldMkLst>
          <pc:docMk/>
          <pc:sldMk cId="3179805674" sldId="2147375604"/>
        </pc:sldMkLst>
        <pc:spChg chg="mod">
          <ac:chgData name="Dhruw, Kabir SBOBNG-PTIV/LC" userId="b937d6d8-898d-4cbe-9fd6-c82dbbaafd5f" providerId="ADAL" clId="{7CD428B9-A6FB-4AE1-9E17-165E06B1D93B}" dt="2024-09-04T03:26:08.748" v="40" actId="20577"/>
          <ac:spMkLst>
            <pc:docMk/>
            <pc:sldMk cId="3179805674" sldId="2147375604"/>
            <ac:spMk id="12" creationId="{E53E5C3F-4D2B-B85F-E592-E58E032C664C}"/>
          </ac:spMkLst>
        </pc:spChg>
        <pc:picChg chg="add mod">
          <ac:chgData name="Dhruw, Kabir SBOBNG-PTIV/LC" userId="b937d6d8-898d-4cbe-9fd6-c82dbbaafd5f" providerId="ADAL" clId="{7CD428B9-A6FB-4AE1-9E17-165E06B1D93B}" dt="2024-09-04T03:26:26.232" v="47" actId="1076"/>
          <ac:picMkLst>
            <pc:docMk/>
            <pc:sldMk cId="3179805674" sldId="2147375604"/>
            <ac:picMk id="6" creationId="{29E78300-98C3-E163-6145-FB5C9F74B18B}"/>
          </ac:picMkLst>
        </pc:picChg>
      </pc:sldChg>
      <pc:sldChg chg="addSp modSp mod">
        <pc:chgData name="Dhruw, Kabir SBOBNG-PTIV/LC" userId="b937d6d8-898d-4cbe-9fd6-c82dbbaafd5f" providerId="ADAL" clId="{7CD428B9-A6FB-4AE1-9E17-165E06B1D93B}" dt="2024-09-04T03:27:08.456" v="51" actId="27614"/>
        <pc:sldMkLst>
          <pc:docMk/>
          <pc:sldMk cId="86366928" sldId="2147375605"/>
        </pc:sldMkLst>
        <pc:spChg chg="mod">
          <ac:chgData name="Dhruw, Kabir SBOBNG-PTIV/LC" userId="b937d6d8-898d-4cbe-9fd6-c82dbbaafd5f" providerId="ADAL" clId="{7CD428B9-A6FB-4AE1-9E17-165E06B1D93B}" dt="2024-09-04T03:26:32.103" v="48" actId="20577"/>
          <ac:spMkLst>
            <pc:docMk/>
            <pc:sldMk cId="86366928" sldId="2147375605"/>
            <ac:spMk id="12" creationId="{E53E5C3F-4D2B-B85F-E592-E58E032C664C}"/>
          </ac:spMkLst>
        </pc:spChg>
        <pc:picChg chg="add mod">
          <ac:chgData name="Dhruw, Kabir SBOBNG-PTIV/LC" userId="b937d6d8-898d-4cbe-9fd6-c82dbbaafd5f" providerId="ADAL" clId="{7CD428B9-A6FB-4AE1-9E17-165E06B1D93B}" dt="2024-09-04T03:27:08.456" v="51" actId="27614"/>
          <ac:picMkLst>
            <pc:docMk/>
            <pc:sldMk cId="86366928" sldId="2147375605"/>
            <ac:picMk id="6" creationId="{D312A917-7B74-8A70-0956-E55184C9B353}"/>
          </ac:picMkLst>
        </pc:picChg>
      </pc:sldChg>
      <pc:sldChg chg="addSp modSp mod">
        <pc:chgData name="Dhruw, Kabir SBOBNG-PTIV/LC" userId="b937d6d8-898d-4cbe-9fd6-c82dbbaafd5f" providerId="ADAL" clId="{7CD428B9-A6FB-4AE1-9E17-165E06B1D93B}" dt="2024-09-04T03:28:00.794" v="57" actId="962"/>
        <pc:sldMkLst>
          <pc:docMk/>
          <pc:sldMk cId="2340944189" sldId="2147375607"/>
        </pc:sldMkLst>
        <pc:spChg chg="mod">
          <ac:chgData name="Dhruw, Kabir SBOBNG-PTIV/LC" userId="b937d6d8-898d-4cbe-9fd6-c82dbbaafd5f" providerId="ADAL" clId="{7CD428B9-A6FB-4AE1-9E17-165E06B1D93B}" dt="2024-09-04T03:27:12.563" v="52" actId="20577"/>
          <ac:spMkLst>
            <pc:docMk/>
            <pc:sldMk cId="2340944189" sldId="2147375607"/>
            <ac:spMk id="12" creationId="{E53E5C3F-4D2B-B85F-E592-E58E032C664C}"/>
          </ac:spMkLst>
        </pc:spChg>
        <pc:picChg chg="add mod">
          <ac:chgData name="Dhruw, Kabir SBOBNG-PTIV/LC" userId="b937d6d8-898d-4cbe-9fd6-c82dbbaafd5f" providerId="ADAL" clId="{7CD428B9-A6FB-4AE1-9E17-165E06B1D93B}" dt="2024-09-04T03:28:00.794" v="57" actId="962"/>
          <ac:picMkLst>
            <pc:docMk/>
            <pc:sldMk cId="2340944189" sldId="2147375607"/>
            <ac:picMk id="6" creationId="{9D6EC348-F4AC-D87E-FE28-FAD3879E3758}"/>
          </ac:picMkLst>
        </pc:picChg>
      </pc:sldChg>
      <pc:sldChg chg="addSp modSp mod">
        <pc:chgData name="Dhruw, Kabir SBOBNG-PTIV/LC" userId="b937d6d8-898d-4cbe-9fd6-c82dbbaafd5f" providerId="ADAL" clId="{7CD428B9-A6FB-4AE1-9E17-165E06B1D93B}" dt="2024-09-04T03:29:59.237" v="62" actId="27614"/>
        <pc:sldMkLst>
          <pc:docMk/>
          <pc:sldMk cId="3159148252" sldId="2147375608"/>
        </pc:sldMkLst>
        <pc:spChg chg="mod">
          <ac:chgData name="Dhruw, Kabir SBOBNG-PTIV/LC" userId="b937d6d8-898d-4cbe-9fd6-c82dbbaafd5f" providerId="ADAL" clId="{7CD428B9-A6FB-4AE1-9E17-165E06B1D93B}" dt="2024-09-04T03:28:06.218" v="59" actId="20577"/>
          <ac:spMkLst>
            <pc:docMk/>
            <pc:sldMk cId="3159148252" sldId="2147375608"/>
            <ac:spMk id="12" creationId="{E53E5C3F-4D2B-B85F-E592-E58E032C664C}"/>
          </ac:spMkLst>
        </pc:spChg>
        <pc:picChg chg="add mod">
          <ac:chgData name="Dhruw, Kabir SBOBNG-PTIV/LC" userId="b937d6d8-898d-4cbe-9fd6-c82dbbaafd5f" providerId="ADAL" clId="{7CD428B9-A6FB-4AE1-9E17-165E06B1D93B}" dt="2024-09-04T03:29:59.237" v="62" actId="27614"/>
          <ac:picMkLst>
            <pc:docMk/>
            <pc:sldMk cId="3159148252" sldId="2147375608"/>
            <ac:picMk id="6" creationId="{DAD5B57C-A853-7630-2294-A0A39F8F53F0}"/>
          </ac:picMkLst>
        </pc:picChg>
      </pc:sldChg>
      <pc:sldChg chg="addSp modSp mod">
        <pc:chgData name="Dhruw, Kabir SBOBNG-PTIV/LC" userId="b937d6d8-898d-4cbe-9fd6-c82dbbaafd5f" providerId="ADAL" clId="{7CD428B9-A6FB-4AE1-9E17-165E06B1D93B}" dt="2024-09-04T03:30:59.021" v="66" actId="27614"/>
        <pc:sldMkLst>
          <pc:docMk/>
          <pc:sldMk cId="3070204084" sldId="2147375609"/>
        </pc:sldMkLst>
        <pc:spChg chg="mod">
          <ac:chgData name="Dhruw, Kabir SBOBNG-PTIV/LC" userId="b937d6d8-898d-4cbe-9fd6-c82dbbaafd5f" providerId="ADAL" clId="{7CD428B9-A6FB-4AE1-9E17-165E06B1D93B}" dt="2024-09-04T03:30:01.807" v="63" actId="20577"/>
          <ac:spMkLst>
            <pc:docMk/>
            <pc:sldMk cId="3070204084" sldId="2147375609"/>
            <ac:spMk id="12" creationId="{E53E5C3F-4D2B-B85F-E592-E58E032C664C}"/>
          </ac:spMkLst>
        </pc:spChg>
        <pc:picChg chg="add mod">
          <ac:chgData name="Dhruw, Kabir SBOBNG-PTIV/LC" userId="b937d6d8-898d-4cbe-9fd6-c82dbbaafd5f" providerId="ADAL" clId="{7CD428B9-A6FB-4AE1-9E17-165E06B1D93B}" dt="2024-09-04T03:30:59.021" v="66" actId="27614"/>
          <ac:picMkLst>
            <pc:docMk/>
            <pc:sldMk cId="3070204084" sldId="2147375609"/>
            <ac:picMk id="6" creationId="{F3B66E1F-6365-1F7D-BE6B-C77A3676057E}"/>
          </ac:picMkLst>
        </pc:picChg>
      </pc:sldChg>
      <pc:sldChg chg="addSp modSp mod">
        <pc:chgData name="Dhruw, Kabir SBOBNG-PTIV/LC" userId="b937d6d8-898d-4cbe-9fd6-c82dbbaafd5f" providerId="ADAL" clId="{7CD428B9-A6FB-4AE1-9E17-165E06B1D93B}" dt="2024-08-31T06:15:51.787" v="29" actId="962"/>
        <pc:sldMkLst>
          <pc:docMk/>
          <pc:sldMk cId="1148838763" sldId="2147375613"/>
        </pc:sldMkLst>
        <pc:spChg chg="mod">
          <ac:chgData name="Dhruw, Kabir SBOBNG-PTIV/LC" userId="b937d6d8-898d-4cbe-9fd6-c82dbbaafd5f" providerId="ADAL" clId="{7CD428B9-A6FB-4AE1-9E17-165E06B1D93B}" dt="2024-08-31T06:15:23.591" v="24" actId="20577"/>
          <ac:spMkLst>
            <pc:docMk/>
            <pc:sldMk cId="1148838763" sldId="2147375613"/>
            <ac:spMk id="12" creationId="{5A873A1A-E63F-91AE-7D43-ED0F86870147}"/>
          </ac:spMkLst>
        </pc:spChg>
        <pc:picChg chg="add mod">
          <ac:chgData name="Dhruw, Kabir SBOBNG-PTIV/LC" userId="b937d6d8-898d-4cbe-9fd6-c82dbbaafd5f" providerId="ADAL" clId="{7CD428B9-A6FB-4AE1-9E17-165E06B1D93B}" dt="2024-08-31T06:15:51.787" v="29" actId="962"/>
          <ac:picMkLst>
            <pc:docMk/>
            <pc:sldMk cId="1148838763" sldId="2147375613"/>
            <ac:picMk id="6" creationId="{B843856E-5A86-5ED8-ECC4-8DBEDF5F271B}"/>
          </ac:picMkLst>
        </pc:picChg>
      </pc:sldChg>
    </pc:docChg>
  </pc:docChgLst>
  <pc:docChgLst>
    <pc:chgData name="Dhruw, Kabir SBOBNG-PTIV/LC" userId="b937d6d8-898d-4cbe-9fd6-c82dbbaafd5f" providerId="ADAL" clId="{56150486-AB01-472F-808C-CB0EC5E64382}"/>
    <pc:docChg chg="undo custSel modSld">
      <pc:chgData name="Dhruw, Kabir SBOBNG-PTIV/LC" userId="b937d6d8-898d-4cbe-9fd6-c82dbbaafd5f" providerId="ADAL" clId="{56150486-AB01-472F-808C-CB0EC5E64382}" dt="2024-09-06T12:45:04.462" v="1039" actId="20577"/>
      <pc:docMkLst>
        <pc:docMk/>
      </pc:docMkLst>
      <pc:sldChg chg="modSp mod">
        <pc:chgData name="Dhruw, Kabir SBOBNG-PTIV/LC" userId="b937d6d8-898d-4cbe-9fd6-c82dbbaafd5f" providerId="ADAL" clId="{56150486-AB01-472F-808C-CB0EC5E64382}" dt="2024-09-04T03:47:32.767" v="10" actId="20577"/>
        <pc:sldMkLst>
          <pc:docMk/>
          <pc:sldMk cId="3267775274" sldId="256"/>
        </pc:sldMkLst>
        <pc:spChg chg="mod">
          <ac:chgData name="Dhruw, Kabir SBOBNG-PTIV/LC" userId="b937d6d8-898d-4cbe-9fd6-c82dbbaafd5f" providerId="ADAL" clId="{56150486-AB01-472F-808C-CB0EC5E64382}" dt="2024-09-04T03:47:32.767" v="10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addSp delSp modSp mod">
        <pc:chgData name="Dhruw, Kabir SBOBNG-PTIV/LC" userId="b937d6d8-898d-4cbe-9fd6-c82dbbaafd5f" providerId="ADAL" clId="{56150486-AB01-472F-808C-CB0EC5E64382}" dt="2024-09-06T12:43:35.006" v="1025" actId="962"/>
        <pc:sldMkLst>
          <pc:docMk/>
          <pc:sldMk cId="245881457" sldId="2147375597"/>
        </pc:sldMkLst>
        <pc:spChg chg="mod">
          <ac:chgData name="Dhruw, Kabir SBOBNG-PTIV/LC" userId="b937d6d8-898d-4cbe-9fd6-c82dbbaafd5f" providerId="ADAL" clId="{56150486-AB01-472F-808C-CB0EC5E64382}" dt="2024-09-04T03:47:43.751" v="12" actId="20577"/>
          <ac:spMkLst>
            <pc:docMk/>
            <pc:sldMk cId="245881457" sldId="2147375597"/>
            <ac:spMk id="3" creationId="{CEA128C4-A0BC-A895-713C-306E7FF62894}"/>
          </ac:spMkLst>
        </pc:spChg>
        <pc:spChg chg="mod">
          <ac:chgData name="Dhruw, Kabir SBOBNG-PTIV/LC" userId="b937d6d8-898d-4cbe-9fd6-c82dbbaafd5f" providerId="ADAL" clId="{56150486-AB01-472F-808C-CB0EC5E64382}" dt="2024-09-06T12:22:13.757" v="35"/>
          <ac:spMkLst>
            <pc:docMk/>
            <pc:sldMk cId="245881457" sldId="2147375597"/>
            <ac:spMk id="11" creationId="{DE9F1BE0-7910-FA1B-DCE8-56EFD1E4FC09}"/>
          </ac:spMkLst>
        </pc:spChg>
        <pc:picChg chg="add mod">
          <ac:chgData name="Dhruw, Kabir SBOBNG-PTIV/LC" userId="b937d6d8-898d-4cbe-9fd6-c82dbbaafd5f" providerId="ADAL" clId="{56150486-AB01-472F-808C-CB0EC5E64382}" dt="2024-09-06T12:43:35.006" v="1025" actId="962"/>
          <ac:picMkLst>
            <pc:docMk/>
            <pc:sldMk cId="245881457" sldId="2147375597"/>
            <ac:picMk id="5" creationId="{162204CB-E4F8-52CC-1A9A-4CDE87E130AB}"/>
          </ac:picMkLst>
        </pc:picChg>
        <pc:picChg chg="del">
          <ac:chgData name="Dhruw, Kabir SBOBNG-PTIV/LC" userId="b937d6d8-898d-4cbe-9fd6-c82dbbaafd5f" providerId="ADAL" clId="{56150486-AB01-472F-808C-CB0EC5E64382}" dt="2024-09-04T03:47:38.961" v="11" actId="478"/>
          <ac:picMkLst>
            <pc:docMk/>
            <pc:sldMk cId="245881457" sldId="2147375597"/>
            <ac:picMk id="5" creationId="{6858F8FC-974D-5DF8-44AE-06F9793C8BDE}"/>
          </ac:picMkLst>
        </pc:picChg>
      </pc:sldChg>
      <pc:sldChg chg="addSp delSp modSp mod">
        <pc:chgData name="Dhruw, Kabir SBOBNG-PTIV/LC" userId="b937d6d8-898d-4cbe-9fd6-c82dbbaafd5f" providerId="ADAL" clId="{56150486-AB01-472F-808C-CB0EC5E64382}" dt="2024-09-06T12:44:40.364" v="1038" actId="20577"/>
        <pc:sldMkLst>
          <pc:docMk/>
          <pc:sldMk cId="1181112711" sldId="2147375600"/>
        </pc:sldMkLst>
        <pc:spChg chg="mod">
          <ac:chgData name="Dhruw, Kabir SBOBNG-PTIV/LC" userId="b937d6d8-898d-4cbe-9fd6-c82dbbaafd5f" providerId="ADAL" clId="{56150486-AB01-472F-808C-CB0EC5E64382}" dt="2024-09-06T12:44:40.364" v="1038" actId="20577"/>
          <ac:spMkLst>
            <pc:docMk/>
            <pc:sldMk cId="1181112711" sldId="2147375600"/>
            <ac:spMk id="3" creationId="{CEA128C4-A0BC-A895-713C-306E7FF62894}"/>
          </ac:spMkLst>
        </pc:spChg>
        <pc:spChg chg="mod">
          <ac:chgData name="Dhruw, Kabir SBOBNG-PTIV/LC" userId="b937d6d8-898d-4cbe-9fd6-c82dbbaafd5f" providerId="ADAL" clId="{56150486-AB01-472F-808C-CB0EC5E64382}" dt="2024-09-06T12:23:09.895" v="40"/>
          <ac:spMkLst>
            <pc:docMk/>
            <pc:sldMk cId="1181112711" sldId="2147375600"/>
            <ac:spMk id="11" creationId="{DE9F1BE0-7910-FA1B-DCE8-56EFD1E4FC09}"/>
          </ac:spMkLst>
        </pc:spChg>
        <pc:picChg chg="del">
          <ac:chgData name="Dhruw, Kabir SBOBNG-PTIV/LC" userId="b937d6d8-898d-4cbe-9fd6-c82dbbaafd5f" providerId="ADAL" clId="{56150486-AB01-472F-808C-CB0EC5E64382}" dt="2024-09-06T12:43:37.362" v="1026" actId="478"/>
          <ac:picMkLst>
            <pc:docMk/>
            <pc:sldMk cId="1181112711" sldId="2147375600"/>
            <ac:picMk id="5" creationId="{BE907506-5494-B495-E60C-0D93B4CAB467}"/>
          </ac:picMkLst>
        </pc:picChg>
        <pc:picChg chg="add mod">
          <ac:chgData name="Dhruw, Kabir SBOBNG-PTIV/LC" userId="b937d6d8-898d-4cbe-9fd6-c82dbbaafd5f" providerId="ADAL" clId="{56150486-AB01-472F-808C-CB0EC5E64382}" dt="2024-09-06T12:44:05.018" v="1030" actId="27614"/>
          <ac:picMkLst>
            <pc:docMk/>
            <pc:sldMk cId="1181112711" sldId="2147375600"/>
            <ac:picMk id="6" creationId="{BBDCB883-410E-1C62-8185-C4BD8BAC1567}"/>
          </ac:picMkLst>
        </pc:picChg>
      </pc:sldChg>
      <pc:sldChg chg="addSp delSp modSp mod">
        <pc:chgData name="Dhruw, Kabir SBOBNG-PTIV/LC" userId="b937d6d8-898d-4cbe-9fd6-c82dbbaafd5f" providerId="ADAL" clId="{56150486-AB01-472F-808C-CB0EC5E64382}" dt="2024-09-06T12:44:36.097" v="1037" actId="20577"/>
        <pc:sldMkLst>
          <pc:docMk/>
          <pc:sldMk cId="3233747587" sldId="2147375601"/>
        </pc:sldMkLst>
        <pc:spChg chg="mod">
          <ac:chgData name="Dhruw, Kabir SBOBNG-PTIV/LC" userId="b937d6d8-898d-4cbe-9fd6-c82dbbaafd5f" providerId="ADAL" clId="{56150486-AB01-472F-808C-CB0EC5E64382}" dt="2024-09-06T12:44:36.097" v="1037" actId="20577"/>
          <ac:spMkLst>
            <pc:docMk/>
            <pc:sldMk cId="3233747587" sldId="2147375601"/>
            <ac:spMk id="3" creationId="{CEA128C4-A0BC-A895-713C-306E7FF62894}"/>
          </ac:spMkLst>
        </pc:spChg>
        <pc:spChg chg="mod">
          <ac:chgData name="Dhruw, Kabir SBOBNG-PTIV/LC" userId="b937d6d8-898d-4cbe-9fd6-c82dbbaafd5f" providerId="ADAL" clId="{56150486-AB01-472F-808C-CB0EC5E64382}" dt="2024-09-06T12:24:44.159" v="50" actId="403"/>
          <ac:spMkLst>
            <pc:docMk/>
            <pc:sldMk cId="3233747587" sldId="2147375601"/>
            <ac:spMk id="11" creationId="{DE9F1BE0-7910-FA1B-DCE8-56EFD1E4FC09}"/>
          </ac:spMkLst>
        </pc:spChg>
        <pc:picChg chg="del">
          <ac:chgData name="Dhruw, Kabir SBOBNG-PTIV/LC" userId="b937d6d8-898d-4cbe-9fd6-c82dbbaafd5f" providerId="ADAL" clId="{56150486-AB01-472F-808C-CB0EC5E64382}" dt="2024-09-06T12:44:19.999" v="1031" actId="478"/>
          <ac:picMkLst>
            <pc:docMk/>
            <pc:sldMk cId="3233747587" sldId="2147375601"/>
            <ac:picMk id="5" creationId="{F3493A1B-AE08-0EDA-1ABE-21F31FEB06E8}"/>
          </ac:picMkLst>
        </pc:picChg>
        <pc:picChg chg="add mod">
          <ac:chgData name="Dhruw, Kabir SBOBNG-PTIV/LC" userId="b937d6d8-898d-4cbe-9fd6-c82dbbaafd5f" providerId="ADAL" clId="{56150486-AB01-472F-808C-CB0EC5E64382}" dt="2024-09-06T12:44:33.997" v="1035" actId="27614"/>
          <ac:picMkLst>
            <pc:docMk/>
            <pc:sldMk cId="3233747587" sldId="2147375601"/>
            <ac:picMk id="6" creationId="{D6F6AD89-CF3B-68D2-FCBD-86484A89336D}"/>
          </ac:picMkLst>
        </pc:picChg>
      </pc:sldChg>
      <pc:sldChg chg="addSp delSp modSp mod">
        <pc:chgData name="Dhruw, Kabir SBOBNG-PTIV/LC" userId="b937d6d8-898d-4cbe-9fd6-c82dbbaafd5f" providerId="ADAL" clId="{56150486-AB01-472F-808C-CB0EC5E64382}" dt="2024-09-06T12:42:59.497" v="1020" actId="962"/>
        <pc:sldMkLst>
          <pc:docMk/>
          <pc:sldMk cId="3971512377" sldId="2147375603"/>
        </pc:sldMkLst>
        <pc:spChg chg="mod">
          <ac:chgData name="Dhruw, Kabir SBOBNG-PTIV/LC" userId="b937d6d8-898d-4cbe-9fd6-c82dbbaafd5f" providerId="ADAL" clId="{56150486-AB01-472F-808C-CB0EC5E64382}" dt="2024-09-06T12:25:42.885" v="55" actId="404"/>
          <ac:spMkLst>
            <pc:docMk/>
            <pc:sldMk cId="3971512377" sldId="2147375603"/>
            <ac:spMk id="11" creationId="{DE9F1BE0-7910-FA1B-DCE8-56EFD1E4FC09}"/>
          </ac:spMkLst>
        </pc:spChg>
        <pc:picChg chg="del">
          <ac:chgData name="Dhruw, Kabir SBOBNG-PTIV/LC" userId="b937d6d8-898d-4cbe-9fd6-c82dbbaafd5f" providerId="ADAL" clId="{56150486-AB01-472F-808C-CB0EC5E64382}" dt="2024-09-06T12:41:50.488" v="1010" actId="478"/>
          <ac:picMkLst>
            <pc:docMk/>
            <pc:sldMk cId="3971512377" sldId="2147375603"/>
            <ac:picMk id="6" creationId="{1CE31728-1DAF-DAD1-0C8D-B93E9FB13EA8}"/>
          </ac:picMkLst>
        </pc:picChg>
        <pc:picChg chg="add mod">
          <ac:chgData name="Dhruw, Kabir SBOBNG-PTIV/LC" userId="b937d6d8-898d-4cbe-9fd6-c82dbbaafd5f" providerId="ADAL" clId="{56150486-AB01-472F-808C-CB0EC5E64382}" dt="2024-09-06T12:42:59.497" v="1020" actId="962"/>
          <ac:picMkLst>
            <pc:docMk/>
            <pc:sldMk cId="3971512377" sldId="2147375603"/>
            <ac:picMk id="8" creationId="{D9CF7C67-8A12-AFF3-BD7C-A58B2FEA357B}"/>
          </ac:picMkLst>
        </pc:picChg>
      </pc:sldChg>
      <pc:sldChg chg="addSp delSp modSp mod">
        <pc:chgData name="Dhruw, Kabir SBOBNG-PTIV/LC" userId="b937d6d8-898d-4cbe-9fd6-c82dbbaafd5f" providerId="ADAL" clId="{56150486-AB01-472F-808C-CB0EC5E64382}" dt="2024-09-06T12:41:47.843" v="1009" actId="962"/>
        <pc:sldMkLst>
          <pc:docMk/>
          <pc:sldMk cId="3179805674" sldId="2147375604"/>
        </pc:sldMkLst>
        <pc:spChg chg="mod">
          <ac:chgData name="Dhruw, Kabir SBOBNG-PTIV/LC" userId="b937d6d8-898d-4cbe-9fd6-c82dbbaafd5f" providerId="ADAL" clId="{56150486-AB01-472F-808C-CB0EC5E64382}" dt="2024-09-06T12:26:38.189" v="59"/>
          <ac:spMkLst>
            <pc:docMk/>
            <pc:sldMk cId="3179805674" sldId="2147375604"/>
            <ac:spMk id="11" creationId="{DE9F1BE0-7910-FA1B-DCE8-56EFD1E4FC09}"/>
          </ac:spMkLst>
        </pc:spChg>
        <pc:picChg chg="del">
          <ac:chgData name="Dhruw, Kabir SBOBNG-PTIV/LC" userId="b937d6d8-898d-4cbe-9fd6-c82dbbaafd5f" providerId="ADAL" clId="{56150486-AB01-472F-808C-CB0EC5E64382}" dt="2024-09-06T12:41:34.211" v="1004" actId="478"/>
          <ac:picMkLst>
            <pc:docMk/>
            <pc:sldMk cId="3179805674" sldId="2147375604"/>
            <ac:picMk id="6" creationId="{29E78300-98C3-E163-6145-FB5C9F74B18B}"/>
          </ac:picMkLst>
        </pc:picChg>
        <pc:picChg chg="add mod">
          <ac:chgData name="Dhruw, Kabir SBOBNG-PTIV/LC" userId="b937d6d8-898d-4cbe-9fd6-c82dbbaafd5f" providerId="ADAL" clId="{56150486-AB01-472F-808C-CB0EC5E64382}" dt="2024-09-06T12:41:47.843" v="1009" actId="962"/>
          <ac:picMkLst>
            <pc:docMk/>
            <pc:sldMk cId="3179805674" sldId="2147375604"/>
            <ac:picMk id="8" creationId="{C32D8F2D-7893-1160-0237-670673DDB4F9}"/>
          </ac:picMkLst>
        </pc:picChg>
      </pc:sldChg>
      <pc:sldChg chg="addSp delSp modSp mod">
        <pc:chgData name="Dhruw, Kabir SBOBNG-PTIV/LC" userId="b937d6d8-898d-4cbe-9fd6-c82dbbaafd5f" providerId="ADAL" clId="{56150486-AB01-472F-808C-CB0EC5E64382}" dt="2024-09-06T12:41:07.310" v="1003" actId="1076"/>
        <pc:sldMkLst>
          <pc:docMk/>
          <pc:sldMk cId="86366928" sldId="2147375605"/>
        </pc:sldMkLst>
        <pc:spChg chg="mod">
          <ac:chgData name="Dhruw, Kabir SBOBNG-PTIV/LC" userId="b937d6d8-898d-4cbe-9fd6-c82dbbaafd5f" providerId="ADAL" clId="{56150486-AB01-472F-808C-CB0EC5E64382}" dt="2024-09-06T12:27:17.461" v="69" actId="255"/>
          <ac:spMkLst>
            <pc:docMk/>
            <pc:sldMk cId="86366928" sldId="2147375605"/>
            <ac:spMk id="11" creationId="{DE9F1BE0-7910-FA1B-DCE8-56EFD1E4FC09}"/>
          </ac:spMkLst>
        </pc:spChg>
        <pc:picChg chg="del">
          <ac:chgData name="Dhruw, Kabir SBOBNG-PTIV/LC" userId="b937d6d8-898d-4cbe-9fd6-c82dbbaafd5f" providerId="ADAL" clId="{56150486-AB01-472F-808C-CB0EC5E64382}" dt="2024-09-06T12:40:49.085" v="995" actId="478"/>
          <ac:picMkLst>
            <pc:docMk/>
            <pc:sldMk cId="86366928" sldId="2147375605"/>
            <ac:picMk id="6" creationId="{D312A917-7B74-8A70-0956-E55184C9B353}"/>
          </ac:picMkLst>
        </pc:picChg>
        <pc:picChg chg="add mod">
          <ac:chgData name="Dhruw, Kabir SBOBNG-PTIV/LC" userId="b937d6d8-898d-4cbe-9fd6-c82dbbaafd5f" providerId="ADAL" clId="{56150486-AB01-472F-808C-CB0EC5E64382}" dt="2024-09-06T12:41:07.310" v="1003" actId="1076"/>
          <ac:picMkLst>
            <pc:docMk/>
            <pc:sldMk cId="86366928" sldId="2147375605"/>
            <ac:picMk id="8" creationId="{FD8D0771-6278-7EF2-130A-192ADC183937}"/>
          </ac:picMkLst>
        </pc:picChg>
      </pc:sldChg>
      <pc:sldChg chg="addSp delSp modSp mod">
        <pc:chgData name="Dhruw, Kabir SBOBNG-PTIV/LC" userId="b937d6d8-898d-4cbe-9fd6-c82dbbaafd5f" providerId="ADAL" clId="{56150486-AB01-472F-808C-CB0EC5E64382}" dt="2024-09-06T12:38:30.346" v="983" actId="1076"/>
        <pc:sldMkLst>
          <pc:docMk/>
          <pc:sldMk cId="2340944189" sldId="2147375607"/>
        </pc:sldMkLst>
        <pc:spChg chg="add del">
          <ac:chgData name="Dhruw, Kabir SBOBNG-PTIV/LC" userId="b937d6d8-898d-4cbe-9fd6-c82dbbaafd5f" providerId="ADAL" clId="{56150486-AB01-472F-808C-CB0EC5E64382}" dt="2024-09-06T12:37:40.842" v="975" actId="22"/>
          <ac:spMkLst>
            <pc:docMk/>
            <pc:sldMk cId="2340944189" sldId="2147375607"/>
            <ac:spMk id="8" creationId="{4F63EA52-BC82-4CE9-71DC-3FD476C55E02}"/>
          </ac:spMkLst>
        </pc:spChg>
        <pc:spChg chg="mod">
          <ac:chgData name="Dhruw, Kabir SBOBNG-PTIV/LC" userId="b937d6d8-898d-4cbe-9fd6-c82dbbaafd5f" providerId="ADAL" clId="{56150486-AB01-472F-808C-CB0EC5E64382}" dt="2024-09-06T12:28:40.069" v="238" actId="33524"/>
          <ac:spMkLst>
            <pc:docMk/>
            <pc:sldMk cId="2340944189" sldId="2147375607"/>
            <ac:spMk id="11" creationId="{DE9F1BE0-7910-FA1B-DCE8-56EFD1E4FC09}"/>
          </ac:spMkLst>
        </pc:spChg>
        <pc:picChg chg="del">
          <ac:chgData name="Dhruw, Kabir SBOBNG-PTIV/LC" userId="b937d6d8-898d-4cbe-9fd6-c82dbbaafd5f" providerId="ADAL" clId="{56150486-AB01-472F-808C-CB0EC5E64382}" dt="2024-09-06T12:37:11.479" v="973" actId="478"/>
          <ac:picMkLst>
            <pc:docMk/>
            <pc:sldMk cId="2340944189" sldId="2147375607"/>
            <ac:picMk id="6" creationId="{9D6EC348-F4AC-D87E-FE28-FAD3879E3758}"/>
          </ac:picMkLst>
        </pc:picChg>
        <pc:picChg chg="add del mod">
          <ac:chgData name="Dhruw, Kabir SBOBNG-PTIV/LC" userId="b937d6d8-898d-4cbe-9fd6-c82dbbaafd5f" providerId="ADAL" clId="{56150486-AB01-472F-808C-CB0EC5E64382}" dt="2024-09-06T12:37:51.080" v="977" actId="478"/>
          <ac:picMkLst>
            <pc:docMk/>
            <pc:sldMk cId="2340944189" sldId="2147375607"/>
            <ac:picMk id="13" creationId="{DBCC91E5-CAB7-78DC-A1D8-DB40F81F3F54}"/>
          </ac:picMkLst>
        </pc:picChg>
        <pc:picChg chg="add mod">
          <ac:chgData name="Dhruw, Kabir SBOBNG-PTIV/LC" userId="b937d6d8-898d-4cbe-9fd6-c82dbbaafd5f" providerId="ADAL" clId="{56150486-AB01-472F-808C-CB0EC5E64382}" dt="2024-09-06T12:38:30.346" v="983" actId="1076"/>
          <ac:picMkLst>
            <pc:docMk/>
            <pc:sldMk cId="2340944189" sldId="2147375607"/>
            <ac:picMk id="15" creationId="{4CE535EE-6BF1-0FAD-300B-E8A6BD485577}"/>
          </ac:picMkLst>
        </pc:picChg>
      </pc:sldChg>
      <pc:sldChg chg="addSp delSp modSp mod">
        <pc:chgData name="Dhruw, Kabir SBOBNG-PTIV/LC" userId="b937d6d8-898d-4cbe-9fd6-c82dbbaafd5f" providerId="ADAL" clId="{56150486-AB01-472F-808C-CB0EC5E64382}" dt="2024-09-06T12:39:40.012" v="988" actId="27614"/>
        <pc:sldMkLst>
          <pc:docMk/>
          <pc:sldMk cId="3159148252" sldId="2147375608"/>
        </pc:sldMkLst>
        <pc:spChg chg="mod">
          <ac:chgData name="Dhruw, Kabir SBOBNG-PTIV/LC" userId="b937d6d8-898d-4cbe-9fd6-c82dbbaafd5f" providerId="ADAL" clId="{56150486-AB01-472F-808C-CB0EC5E64382}" dt="2024-09-06T12:29:10.517" v="320" actId="20577"/>
          <ac:spMkLst>
            <pc:docMk/>
            <pc:sldMk cId="3159148252" sldId="2147375608"/>
            <ac:spMk id="11" creationId="{DE9F1BE0-7910-FA1B-DCE8-56EFD1E4FC09}"/>
          </ac:spMkLst>
        </pc:spChg>
        <pc:picChg chg="del">
          <ac:chgData name="Dhruw, Kabir SBOBNG-PTIV/LC" userId="b937d6d8-898d-4cbe-9fd6-c82dbbaafd5f" providerId="ADAL" clId="{56150486-AB01-472F-808C-CB0EC5E64382}" dt="2024-09-06T12:38:33.295" v="984" actId="478"/>
          <ac:picMkLst>
            <pc:docMk/>
            <pc:sldMk cId="3159148252" sldId="2147375608"/>
            <ac:picMk id="6" creationId="{DAD5B57C-A853-7630-2294-A0A39F8F53F0}"/>
          </ac:picMkLst>
        </pc:picChg>
        <pc:picChg chg="add mod">
          <ac:chgData name="Dhruw, Kabir SBOBNG-PTIV/LC" userId="b937d6d8-898d-4cbe-9fd6-c82dbbaafd5f" providerId="ADAL" clId="{56150486-AB01-472F-808C-CB0EC5E64382}" dt="2024-09-06T12:39:40.012" v="988" actId="27614"/>
          <ac:picMkLst>
            <pc:docMk/>
            <pc:sldMk cId="3159148252" sldId="2147375608"/>
            <ac:picMk id="8" creationId="{A002F3C6-1A0F-18B0-4A5E-3C61A4353DAB}"/>
          </ac:picMkLst>
        </pc:picChg>
      </pc:sldChg>
      <pc:sldChg chg="addSp delSp modSp mod">
        <pc:chgData name="Dhruw, Kabir SBOBNG-PTIV/LC" userId="b937d6d8-898d-4cbe-9fd6-c82dbbaafd5f" providerId="ADAL" clId="{56150486-AB01-472F-808C-CB0EC5E64382}" dt="2024-09-06T12:40:17.399" v="994" actId="1076"/>
        <pc:sldMkLst>
          <pc:docMk/>
          <pc:sldMk cId="3070204084" sldId="2147375609"/>
        </pc:sldMkLst>
        <pc:spChg chg="mod">
          <ac:chgData name="Dhruw, Kabir SBOBNG-PTIV/LC" userId="b937d6d8-898d-4cbe-9fd6-c82dbbaafd5f" providerId="ADAL" clId="{56150486-AB01-472F-808C-CB0EC5E64382}" dt="2024-09-06T12:30:14.766" v="552" actId="20577"/>
          <ac:spMkLst>
            <pc:docMk/>
            <pc:sldMk cId="3070204084" sldId="2147375609"/>
            <ac:spMk id="11" creationId="{DE9F1BE0-7910-FA1B-DCE8-56EFD1E4FC09}"/>
          </ac:spMkLst>
        </pc:spChg>
        <pc:picChg chg="del">
          <ac:chgData name="Dhruw, Kabir SBOBNG-PTIV/LC" userId="b937d6d8-898d-4cbe-9fd6-c82dbbaafd5f" providerId="ADAL" clId="{56150486-AB01-472F-808C-CB0EC5E64382}" dt="2024-09-06T12:39:42.086" v="989" actId="478"/>
          <ac:picMkLst>
            <pc:docMk/>
            <pc:sldMk cId="3070204084" sldId="2147375609"/>
            <ac:picMk id="6" creationId="{F3B66E1F-6365-1F7D-BE6B-C77A3676057E}"/>
          </ac:picMkLst>
        </pc:picChg>
        <pc:picChg chg="add mod">
          <ac:chgData name="Dhruw, Kabir SBOBNG-PTIV/LC" userId="b937d6d8-898d-4cbe-9fd6-c82dbbaafd5f" providerId="ADAL" clId="{56150486-AB01-472F-808C-CB0EC5E64382}" dt="2024-09-06T12:40:17.399" v="994" actId="1076"/>
          <ac:picMkLst>
            <pc:docMk/>
            <pc:sldMk cId="3070204084" sldId="2147375609"/>
            <ac:picMk id="8" creationId="{847966B5-9783-50DC-3EA7-76F34F25ACCC}"/>
          </ac:picMkLst>
        </pc:picChg>
      </pc:sldChg>
      <pc:sldChg chg="modSp mod">
        <pc:chgData name="Dhruw, Kabir SBOBNG-PTIV/LC" userId="b937d6d8-898d-4cbe-9fd6-c82dbbaafd5f" providerId="ADAL" clId="{56150486-AB01-472F-808C-CB0EC5E64382}" dt="2024-09-06T12:31:01.593" v="667" actId="20577"/>
        <pc:sldMkLst>
          <pc:docMk/>
          <pc:sldMk cId="3754613224" sldId="2147375611"/>
        </pc:sldMkLst>
        <pc:spChg chg="mod">
          <ac:chgData name="Dhruw, Kabir SBOBNG-PTIV/LC" userId="b937d6d8-898d-4cbe-9fd6-c82dbbaafd5f" providerId="ADAL" clId="{56150486-AB01-472F-808C-CB0EC5E64382}" dt="2024-09-06T12:31:01.593" v="667" actId="20577"/>
          <ac:spMkLst>
            <pc:docMk/>
            <pc:sldMk cId="3754613224" sldId="2147375611"/>
            <ac:spMk id="18" creationId="{6C73795A-BE20-7075-E9C6-6F145CE60794}"/>
          </ac:spMkLst>
        </pc:spChg>
        <pc:spChg chg="mod">
          <ac:chgData name="Dhruw, Kabir SBOBNG-PTIV/LC" userId="b937d6d8-898d-4cbe-9fd6-c82dbbaafd5f" providerId="ADAL" clId="{56150486-AB01-472F-808C-CB0EC5E64382}" dt="2024-09-06T12:30:34.852" v="592" actId="20577"/>
          <ac:spMkLst>
            <pc:docMk/>
            <pc:sldMk cId="3754613224" sldId="2147375611"/>
            <ac:spMk id="19" creationId="{A3E2F4D1-4417-E244-3DB9-A6FF5866A342}"/>
          </ac:spMkLst>
        </pc:spChg>
        <pc:spChg chg="mod">
          <ac:chgData name="Dhruw, Kabir SBOBNG-PTIV/LC" userId="b937d6d8-898d-4cbe-9fd6-c82dbbaafd5f" providerId="ADAL" clId="{56150486-AB01-472F-808C-CB0EC5E64382}" dt="2024-09-06T12:30:42.775" v="618" actId="20577"/>
          <ac:spMkLst>
            <pc:docMk/>
            <pc:sldMk cId="3754613224" sldId="2147375611"/>
            <ac:spMk id="20" creationId="{3EBEB0AC-D407-44FD-A74F-90F67F3D13C3}"/>
          </ac:spMkLst>
        </pc:spChg>
      </pc:sldChg>
      <pc:sldChg chg="addSp delSp modSp mod">
        <pc:chgData name="Dhruw, Kabir SBOBNG-PTIV/LC" userId="b937d6d8-898d-4cbe-9fd6-c82dbbaafd5f" providerId="ADAL" clId="{56150486-AB01-472F-808C-CB0EC5E64382}" dt="2024-09-06T12:45:04.462" v="1039" actId="20577"/>
        <pc:sldMkLst>
          <pc:docMk/>
          <pc:sldMk cId="1148838763" sldId="2147375613"/>
        </pc:sldMkLst>
        <pc:spChg chg="mod">
          <ac:chgData name="Dhruw, Kabir SBOBNG-PTIV/LC" userId="b937d6d8-898d-4cbe-9fd6-c82dbbaafd5f" providerId="ADAL" clId="{56150486-AB01-472F-808C-CB0EC5E64382}" dt="2024-09-06T12:45:04.462" v="1039" actId="20577"/>
          <ac:spMkLst>
            <pc:docMk/>
            <pc:sldMk cId="1148838763" sldId="2147375613"/>
            <ac:spMk id="11" creationId="{8CC1343B-2E39-FEFF-8FF6-46822F18B432}"/>
          </ac:spMkLst>
        </pc:spChg>
        <pc:picChg chg="del">
          <ac:chgData name="Dhruw, Kabir SBOBNG-PTIV/LC" userId="b937d6d8-898d-4cbe-9fd6-c82dbbaafd5f" providerId="ADAL" clId="{56150486-AB01-472F-808C-CB0EC5E64382}" dt="2024-09-06T12:42:15.828" v="1011" actId="478"/>
          <ac:picMkLst>
            <pc:docMk/>
            <pc:sldMk cId="1148838763" sldId="2147375613"/>
            <ac:picMk id="6" creationId="{B843856E-5A86-5ED8-ECC4-8DBEDF5F271B}"/>
          </ac:picMkLst>
        </pc:picChg>
        <pc:picChg chg="add mod">
          <ac:chgData name="Dhruw, Kabir SBOBNG-PTIV/LC" userId="b937d6d8-898d-4cbe-9fd6-c82dbbaafd5f" providerId="ADAL" clId="{56150486-AB01-472F-808C-CB0EC5E64382}" dt="2024-09-06T12:42:28.227" v="1015" actId="27614"/>
          <ac:picMkLst>
            <pc:docMk/>
            <pc:sldMk cId="1148838763" sldId="2147375613"/>
            <ac:picMk id="8" creationId="{8D66E228-C2CB-D0A5-ACA3-06AC6CC9CF55}"/>
          </ac:picMkLst>
        </pc:picChg>
      </pc:sldChg>
      <pc:sldChg chg="modSp mod">
        <pc:chgData name="Dhruw, Kabir SBOBNG-PTIV/LC" userId="b937d6d8-898d-4cbe-9fd6-c82dbbaafd5f" providerId="ADAL" clId="{56150486-AB01-472F-808C-CB0EC5E64382}" dt="2024-09-06T12:33:50.724" v="972"/>
        <pc:sldMkLst>
          <pc:docMk/>
          <pc:sldMk cId="3865850111" sldId="2147375614"/>
        </pc:sldMkLst>
        <pc:spChg chg="mod">
          <ac:chgData name="Dhruw, Kabir SBOBNG-PTIV/LC" userId="b937d6d8-898d-4cbe-9fd6-c82dbbaafd5f" providerId="ADAL" clId="{56150486-AB01-472F-808C-CB0EC5E64382}" dt="2024-09-06T12:33:50.724" v="972"/>
          <ac:spMkLst>
            <pc:docMk/>
            <pc:sldMk cId="3865850111" sldId="2147375614"/>
            <ac:spMk id="6" creationId="{AC2F88D2-81D4-FAD4-568E-A3F495B0641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1&lt;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Kabir Dhruw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06-Sept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Efficient project management (SDLC) and streamlined processes (DevOps) ensure optimal use of resources, reducing waste and increasing productivity.</a:t>
            </a:r>
          </a:p>
          <a:p>
            <a:pPr marL="0" indent="0">
              <a:buNone/>
            </a:pPr>
            <a:endParaRPr lang="en-GB" sz="2000" dirty="0">
              <a:solidFill>
                <a:srgbClr val="111111"/>
              </a:solidFill>
              <a:latin typeface="-apple-system"/>
            </a:endParaRPr>
          </a:p>
          <a:p>
            <a:pPr marL="0" indent="0">
              <a:buNone/>
            </a:pPr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A robust DBMS supports the organization’s data needs as it grows, ensuring that data management processes can scale with the business.</a:t>
            </a:r>
          </a:p>
          <a:p>
            <a:pPr marL="0" indent="0">
              <a:buNone/>
            </a:pPr>
            <a:endParaRPr lang="en-GB" sz="2000" dirty="0">
              <a:solidFill>
                <a:srgbClr val="111111"/>
              </a:solidFill>
              <a:latin typeface="-apple-system"/>
            </a:endParaRP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8" name="Picture 7" descr="A diagram of software development&#10;&#10;Description automatically generated">
            <a:extLst>
              <a:ext uri="{FF2B5EF4-FFF2-40B4-BE49-F238E27FC236}">
                <a16:creationId xmlns:a16="http://schemas.microsoft.com/office/drawing/2014/main" id="{FD8D0771-6278-7EF2-130A-192ADC1839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574" y="2116720"/>
            <a:ext cx="3564785" cy="3564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Azure DevOps was a new platform to me. So immediate exposure to Azure was challenging to me but by the end of the session, I got comfortable with it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15" name="Picture 14" descr="A diagram of a software development&#10;&#10;Description automatically generated">
            <a:extLst>
              <a:ext uri="{FF2B5EF4-FFF2-40B4-BE49-F238E27FC236}">
                <a16:creationId xmlns:a16="http://schemas.microsoft.com/office/drawing/2014/main" id="{4CE535EE-6BF1-0FAD-300B-E8A6BD4855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2491739"/>
            <a:ext cx="5259278" cy="2629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Some additional concepts in DBMS were taught, it was fun to learn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 descr="A diagram of a database management system&#10;&#10;Description automatically generated">
            <a:extLst>
              <a:ext uri="{FF2B5EF4-FFF2-40B4-BE49-F238E27FC236}">
                <a16:creationId xmlns:a16="http://schemas.microsoft.com/office/drawing/2014/main" id="{A002F3C6-1A0F-18B0-4A5E-3C61A4353D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4960" y="2076028"/>
            <a:ext cx="4861559" cy="3646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ands-on sessions were fun yet a bit challenging sometimes as </a:t>
            </a:r>
            <a:r>
              <a:rPr lang="en-US" sz="2000" dirty="0" err="1"/>
              <a:t>fitnesse</a:t>
            </a:r>
            <a:r>
              <a:rPr lang="en-US" sz="2000" dirty="0"/>
              <a:t> tool was not compatible with java 11+ version. So, setting it up was a little challenging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 descr="A diagram of life cycle&#10;&#10;Description automatically generated">
            <a:extLst>
              <a:ext uri="{FF2B5EF4-FFF2-40B4-BE49-F238E27FC236}">
                <a16:creationId xmlns:a16="http://schemas.microsoft.com/office/drawing/2014/main" id="{847966B5-9783-50DC-3EA7-76F34F25ACC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272" y="2343150"/>
            <a:ext cx="4937760" cy="2777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vise the basics of DBMS and doing more hands-on cloud computing projects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in one week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ready started learn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here were many activities included in learning and it was a real fun experience learning this way. Our trainer taught us about fundamentals of technologies by practical games and the whole session was interactiv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8D66E228-C2CB-D0A5-ACA3-06AC6CC9CF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313" y="2104558"/>
            <a:ext cx="5059680" cy="3794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</a:pPr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Integrating methodologies like Agile, Scrum, and DevOps ensures efficient project management and high-quality software delivery.</a:t>
            </a:r>
          </a:p>
          <a:p>
            <a:pPr marL="457200" indent="-457200">
              <a:lnSpc>
                <a:spcPct val="100000"/>
              </a:lnSpc>
            </a:pPr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These approaches foster better collaboration and adaptability, allowing teams to respond quickly to changes and stakeholder needs.</a:t>
            </a:r>
            <a:endParaRPr lang="en-GB" sz="2000" dirty="0">
              <a:solidFill>
                <a:srgbClr val="111111"/>
              </a:solidFill>
              <a:latin typeface="-apple-system"/>
            </a:endParaRPr>
          </a:p>
          <a:p>
            <a:pPr marL="457200" indent="-457200">
              <a:lnSpc>
                <a:spcPct val="100000"/>
              </a:lnSpc>
            </a:pPr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A robust DBMS supports efficient data management and scalability, ensuring data integrity as the organization grows.</a:t>
            </a:r>
          </a:p>
          <a:p>
            <a:pPr marL="457200" indent="-457200">
              <a:lnSpc>
                <a:spcPct val="100000"/>
              </a:lnSpc>
            </a:pPr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Regular testing (STLC) and continuous integration (DevOps) help identify and mitigate risks early, reducing the likelihood of costly errors and ensuring smoother project execution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hase excellence, Not perfection.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group of people putting their hands together&#10;&#10;Description automatically generated">
            <a:extLst>
              <a:ext uri="{FF2B5EF4-FFF2-40B4-BE49-F238E27FC236}">
                <a16:creationId xmlns:a16="http://schemas.microsoft.com/office/drawing/2014/main" id="{4A3D4E05-3D4B-8744-B7E9-1D94B9A478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940" y="2536358"/>
            <a:ext cx="4162425" cy="266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/>
          </a:p>
          <a:p>
            <a:r>
              <a:rPr lang="en-GB" sz="2400" b="0" i="0" dirty="0">
                <a:solidFill>
                  <a:srgbClr val="111111"/>
                </a:solidFill>
                <a:effectLst/>
                <a:latin typeface="-apple-system"/>
              </a:rPr>
              <a:t>Business analysis is crucial for identifying business needs, solving problems, and ensuring successful project outcomes by bridging the gap between stakeholders and technical teams.</a:t>
            </a:r>
            <a:endParaRPr lang="en-US" sz="2000" b="0" i="0" dirty="0">
              <a:solidFill>
                <a:srgbClr val="111111"/>
              </a:solidFill>
              <a:effectLst/>
              <a:latin typeface="-apple-system"/>
            </a:endParaRPr>
          </a:p>
          <a:p>
            <a:r>
              <a:rPr lang="en-GB" sz="2400" b="0" i="0" dirty="0">
                <a:solidFill>
                  <a:srgbClr val="111111"/>
                </a:solidFill>
                <a:effectLst/>
                <a:latin typeface="-apple-system"/>
              </a:rPr>
              <a:t>The Software Development Life Cycle (SDLC) is essential for planning, creating, testing, and deploying software efficiently, ensuring quality and meeting user requirement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group of people in a classroom&#10;&#10;Description automatically generated">
            <a:extLst>
              <a:ext uri="{FF2B5EF4-FFF2-40B4-BE49-F238E27FC236}">
                <a16:creationId xmlns:a16="http://schemas.microsoft.com/office/drawing/2014/main" id="{162204CB-E4F8-52CC-1A9A-4CDE87E130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0152" y="2184613"/>
            <a:ext cx="4572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0" i="0" dirty="0">
                <a:solidFill>
                  <a:srgbClr val="111111"/>
                </a:solidFill>
                <a:effectLst/>
                <a:latin typeface="-apple-system"/>
              </a:rPr>
              <a:t>Agile methodology is vital for delivering high-quality software quickly and efficiently through iterative development, continuous feedback, and collaboration among cross-functional teams.</a:t>
            </a:r>
          </a:p>
          <a:p>
            <a:r>
              <a:rPr lang="en-GB" sz="2400" b="0" i="0" dirty="0">
                <a:solidFill>
                  <a:srgbClr val="111111"/>
                </a:solidFill>
                <a:effectLst/>
                <a:latin typeface="-apple-system"/>
              </a:rPr>
              <a:t>Scrum is essential for managing complex projects by promoting iterative progress, transparency, and collaboration through defined roles, events, and artifact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group of people in a room with a large screen&#10;&#10;Description automatically generated">
            <a:extLst>
              <a:ext uri="{FF2B5EF4-FFF2-40B4-BE49-F238E27FC236}">
                <a16:creationId xmlns:a16="http://schemas.microsoft.com/office/drawing/2014/main" id="{BBDCB883-410E-1C62-8185-C4BD8BAC15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472" y="2132115"/>
            <a:ext cx="4785360" cy="3589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The Software Testing Life Cycle (STLC) is crucial for ensuring software quality by systematically planning, designing, executing, and evaluating tests to identify and fix defects early in the development process.</a:t>
            </a:r>
          </a:p>
          <a:p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DevOps enhances collaboration between development and operations, ensuring faster and more reliable software delivery</a:t>
            </a:r>
            <a:endParaRPr lang="en-GB" sz="2000" dirty="0">
              <a:solidFill>
                <a:srgbClr val="111111"/>
              </a:solidFill>
              <a:latin typeface="-apple-system"/>
            </a:endParaRPr>
          </a:p>
          <a:p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A Database Management System (DBMS) is essential for efficiently storing, retrieving, and managing data, ensuring data integrity and security.</a:t>
            </a:r>
            <a:endParaRPr lang="en-US" sz="18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computer on a table&#10;&#10;Description automatically generated">
            <a:extLst>
              <a:ext uri="{FF2B5EF4-FFF2-40B4-BE49-F238E27FC236}">
                <a16:creationId xmlns:a16="http://schemas.microsoft.com/office/drawing/2014/main" id="{D6F6AD89-CF3B-68D2-FCBD-86484A8933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0152" y="2184613"/>
            <a:ext cx="4572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Combining Business Analysis, SDLC, Agile, Scrum, STLC, DevOps, and DBMS can significantly benefit an organization by ensuring efficient project management, high-quality software delivery, and robust data management.</a:t>
            </a:r>
          </a:p>
          <a:p>
            <a:pPr marL="0" indent="0">
              <a:buNone/>
            </a:pPr>
            <a:endParaRPr lang="en-GB" sz="2000" dirty="0">
              <a:solidFill>
                <a:srgbClr val="111111"/>
              </a:solidFill>
              <a:latin typeface="-apple-system"/>
            </a:endParaRPr>
          </a:p>
          <a:p>
            <a:pPr marL="0" indent="0">
              <a:buNone/>
            </a:pPr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This integrated approach fosters collaboration, accelerates development cycles, enhances software quality, and ensures data integrity, ultimately driving business success.</a:t>
            </a:r>
            <a:endParaRPr lang="en-US" sz="18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8" name="Picture 7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D9CF7C67-8A12-AFF3-BD7C-A58B2FEA35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199" y="2132115"/>
            <a:ext cx="4983480" cy="373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0" i="0" dirty="0">
                <a:solidFill>
                  <a:srgbClr val="111111"/>
                </a:solidFill>
                <a:effectLst/>
                <a:latin typeface="-apple-system"/>
              </a:rPr>
              <a:t>Agile and Scrum methodologies allow teams to quickly adapt to changes in requirements or market conditions, ensuring the organization remains competitive.</a:t>
            </a:r>
          </a:p>
          <a:p>
            <a:pPr marL="0" indent="0">
              <a:buNone/>
            </a:pPr>
            <a:endParaRPr lang="en-GB" sz="2400" dirty="0">
              <a:solidFill>
                <a:srgbClr val="111111"/>
              </a:solidFill>
              <a:latin typeface="-apple-system"/>
            </a:endParaRPr>
          </a:p>
          <a:p>
            <a:pPr marL="0" indent="0">
              <a:buNone/>
            </a:pPr>
            <a:r>
              <a:rPr lang="en-GB" sz="2400" b="0" i="0" dirty="0">
                <a:solidFill>
                  <a:srgbClr val="111111"/>
                </a:solidFill>
                <a:effectLst/>
                <a:latin typeface="-apple-system"/>
              </a:rPr>
              <a:t>Regular testing (STLC) and continuous integration (DevOps) help identify and mitigate risks early in the development process, reducing the likelihood of costly error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8" name="Picture 7" descr="A cartoon of a squirrel with a checklist&#10;&#10;Description automatically generated">
            <a:extLst>
              <a:ext uri="{FF2B5EF4-FFF2-40B4-BE49-F238E27FC236}">
                <a16:creationId xmlns:a16="http://schemas.microsoft.com/office/drawing/2014/main" id="{C32D8F2D-7893-1160-0237-670673DDB4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6023" y="2005314"/>
            <a:ext cx="5327805" cy="393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759</TotalTime>
  <Words>677</Words>
  <Application>Microsoft Office PowerPoint</Application>
  <PresentationFormat>Widescreen</PresentationFormat>
  <Paragraphs>67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</vt:lpstr>
      <vt:lpstr>Learning 2 |</vt:lpstr>
      <vt:lpstr>Learning 3 |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Dhruw, Kabir SBOBNG-PTIV/LC</cp:lastModifiedBy>
  <cp:revision>501</cp:revision>
  <dcterms:created xsi:type="dcterms:W3CDTF">2022-01-18T12:35:56Z</dcterms:created>
  <dcterms:modified xsi:type="dcterms:W3CDTF">2024-09-06T12:4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